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2"/>
  </p:notesMasterIdLst>
  <p:sldIdLst>
    <p:sldId id="257" r:id="rId2"/>
    <p:sldId id="259" r:id="rId3"/>
    <p:sldId id="260" r:id="rId4"/>
    <p:sldId id="261" r:id="rId5"/>
    <p:sldId id="262" r:id="rId6"/>
    <p:sldId id="266" r:id="rId7"/>
    <p:sldId id="265" r:id="rId8"/>
    <p:sldId id="264" r:id="rId9"/>
    <p:sldId id="267" r:id="rId10"/>
    <p:sldId id="263" r:id="rId11"/>
  </p:sldIdLst>
  <p:sldSz cx="18288000" cy="10287000"/>
  <p:notesSz cx="6858000" cy="9144000"/>
  <p:embeddedFontLst>
    <p:embeddedFont>
      <p:font typeface="Raleway" pitchFamily="2" charset="0"/>
      <p:regular r:id="rId13"/>
      <p:bold r:id="rId14"/>
      <p:italic r:id="rId15"/>
      <p:boldItalic r:id="rId16"/>
    </p:embeddedFont>
    <p:embeddedFont>
      <p:font typeface="Roboto Light" panose="02000000000000000000" pitchFamily="2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47" d="100"/>
          <a:sy n="47" d="100"/>
        </p:scale>
        <p:origin x="596" y="44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unsplash.com/?utm_source=smart%20slides&amp;utm_medium=referral" TargetMode="External"/><Relationship Id="rId5" Type="http://schemas.openxmlformats.org/officeDocument/2006/relationships/hyperlink" Target="https://unsplash.com/@campaign_creators?utm_source=smart%20slides&amp;utm_medium=referral" TargetMode="External"/><Relationship Id="rId4" Type="http://schemas.openxmlformats.org/officeDocument/2006/relationships/hyperlink" Target="https://unsplash.com/photos/person-using-macbook-pro-pypeCEaJeZY?utm_source=smart%20slides&amp;utm_medium=referra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unsplash.com/?utm_source=smart%20slides&amp;utm_medium=referral" TargetMode="External"/><Relationship Id="rId5" Type="http://schemas.openxmlformats.org/officeDocument/2006/relationships/hyperlink" Target="https://unsplash.com/@michael_schiffer_design?utm_source=smart%20slides&amp;utm_medium=referral" TargetMode="External"/><Relationship Id="rId4" Type="http://schemas.openxmlformats.org/officeDocument/2006/relationships/hyperlink" Target="https://unsplash.com/photos/scope-image-13UugSL9q7A?utm_source=smart%20slides&amp;utm_medium=referral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DC9221A-92F0-FB9E-57A7-AEB575A5AA4C}"/>
              </a:ext>
            </a:extLst>
          </p:cNvPr>
          <p:cNvSpPr/>
          <p:nvPr/>
        </p:nvSpPr>
        <p:spPr>
          <a:xfrm>
            <a:off x="-12303" y="6383868"/>
            <a:ext cx="18288000" cy="3903132"/>
          </a:xfrm>
          <a:prstGeom prst="rect">
            <a:avLst/>
          </a:prstGeom>
          <a:gradFill flip="none" rotWithShape="1">
            <a:gsLst>
              <a:gs pos="0">
                <a:srgbClr val="8500EA">
                  <a:shade val="30000"/>
                  <a:satMod val="115000"/>
                </a:srgbClr>
              </a:gs>
              <a:gs pos="50000">
                <a:srgbClr val="8500EA">
                  <a:shade val="67500"/>
                  <a:satMod val="115000"/>
                </a:srgbClr>
              </a:gs>
              <a:gs pos="100000">
                <a:srgbClr val="8500E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 sz="3600">
                <a:latin typeface="Calibri"/>
              </a:defRPr>
            </a:pPr>
            <a:r>
              <a:rPr lang="en-IN" dirty="0"/>
              <a:t>   Presented by: </a:t>
            </a:r>
            <a:r>
              <a:rPr lang="en-IN" dirty="0" err="1"/>
              <a:t>Sathishsagar</a:t>
            </a:r>
            <a:r>
              <a:rPr lang="en-IN" dirty="0"/>
              <a:t> Chanda</a:t>
            </a:r>
          </a:p>
        </p:txBody>
      </p:sp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8393912" y="9335067"/>
            <a:ext cx="86037" cy="86037"/>
          </a:xfrm>
        </p:spPr>
      </p:pic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/>
        </p:blipFill>
        <p:spPr>
          <a:xfrm>
            <a:off x="8231937" y="1028700"/>
            <a:ext cx="1824125" cy="167933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9652" y="2882068"/>
            <a:ext cx="14068696" cy="816476"/>
          </a:xfrm>
        </p:spPr>
        <p:txBody>
          <a:bodyPr/>
          <a:lstStyle/>
          <a:p>
            <a:r>
              <a:rPr lang="en-US" sz="4000" dirty="0"/>
              <a:t>Power BI Project-1</a:t>
            </a:r>
            <a:endParaRPr lang="en-US" sz="4000" dirty="0">
              <a:solidFill>
                <a:srgbClr val="8500EA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09652" y="3698544"/>
            <a:ext cx="14044090" cy="1105468"/>
          </a:xfrm>
        </p:spPr>
        <p:txBody>
          <a:bodyPr/>
          <a:lstStyle/>
          <a:p>
            <a:r>
              <a:rPr lang="en-US" sz="4800" dirty="0"/>
              <a:t>Data Science Job Salaries</a:t>
            </a:r>
            <a:endParaRPr lang="en-US" dirty="0"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9072" y="1205706"/>
            <a:ext cx="13968341" cy="3004649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- Power BI effectively visualizes salary trends and job market insights.</a:t>
            </a:r>
          </a:p>
          <a:p>
            <a:pPr>
              <a:defRPr sz="3600">
                <a:latin typeface="Calibri"/>
              </a:defRPr>
            </a:pPr>
            <a:r>
              <a:rPr dirty="0"/>
              <a:t>- Potential improvements: Adding more datasets, industry comparisons.</a:t>
            </a:r>
          </a:p>
          <a:p>
            <a:pPr>
              <a:defRPr sz="3600">
                <a:latin typeface="Calibri"/>
              </a:defRPr>
            </a:pPr>
            <a:r>
              <a:rPr dirty="0"/>
              <a:t>- Next Steps: Share findings with stakeholders and refine analysi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9073" y="264425"/>
            <a:ext cx="13968341" cy="981900"/>
          </a:xfrm>
        </p:spPr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rPr dirty="0"/>
              <a:t>Conclusion &amp; Next Step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DC4D40D-8E38-A47F-AFD0-245FDFBEA14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IN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Analyzing data science job salaries using Power BI.</a:t>
            </a:r>
          </a:p>
          <a:p>
            <a:pPr>
              <a:defRPr sz="3600">
                <a:latin typeface="Calibri"/>
              </a:defRPr>
            </a:pPr>
            <a:r>
              <a:t>Dataset includes columns: work_year, experience_level, employment_type, job_title, salary, employee_residence, job_type, company_location, and company_size.</a:t>
            </a:r>
          </a:p>
          <a:p>
            <a:pPr>
              <a:defRPr sz="3600">
                <a:latin typeface="Calibri"/>
              </a:defRPr>
            </a:pPr>
            <a:r>
              <a:t>Objective: Identify trends in salaries based on job roles, experience, and company attribut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t>Project Overview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pypeCEaJeZY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7819" r="1781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Key Insights:</a:t>
            </a:r>
          </a:p>
          <a:p>
            <a:pPr>
              <a:defRPr sz="3600">
                <a:latin typeface="Calibri"/>
              </a:defRPr>
            </a:pPr>
            <a:r>
              <a:rPr dirty="0"/>
              <a:t>- Higher salaries for remote jobs.</a:t>
            </a:r>
          </a:p>
          <a:p>
            <a:pPr>
              <a:defRPr sz="3600">
                <a:latin typeface="Calibri"/>
              </a:defRPr>
            </a:pPr>
            <a:r>
              <a:rPr dirty="0"/>
              <a:t>- Senior roles dominate total salary distribution.</a:t>
            </a:r>
          </a:p>
          <a:p>
            <a:pPr>
              <a:defRPr sz="3600">
                <a:latin typeface="Calibri"/>
              </a:defRPr>
            </a:pPr>
            <a:r>
              <a:rPr dirty="0"/>
              <a:t>- Employment type impacts salary levels significantl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t>Dashboard: Data Science Job Salaries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3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4"/>
              </a:rPr>
              <a:t>Photo: person using MacBook Pro</a:t>
            </a:r>
          </a:p>
          <a:p>
            <a:r>
              <a:rPr>
                <a:hlinkClick r:id="rId5"/>
              </a:rPr>
              <a:t>Photo by Campaign Creators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13UugSL9q7A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70" r="20370"/>
          <a:stretch>
            <a:fillRect/>
          </a:stretch>
        </p:blipFill>
        <p:spPr>
          <a:xfrm>
            <a:off x="-30955" y="6375"/>
            <a:ext cx="8888352" cy="10287000"/>
          </a:xfr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70314" y="2480152"/>
            <a:ext cx="7489429" cy="5892750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Key Insights:</a:t>
            </a:r>
          </a:p>
          <a:p>
            <a:pPr>
              <a:defRPr sz="3600">
                <a:latin typeface="Calibri"/>
              </a:defRPr>
            </a:pPr>
            <a:r>
              <a:rPr dirty="0"/>
              <a:t>- Highest salaries observed in Russia, USA, and New Zealand.</a:t>
            </a:r>
          </a:p>
          <a:p>
            <a:pPr>
              <a:defRPr sz="3600">
                <a:latin typeface="Calibri"/>
              </a:defRPr>
            </a:pPr>
            <a:r>
              <a:rPr dirty="0"/>
              <a:t>- Large companies tend to offer higher salaries.</a:t>
            </a:r>
          </a:p>
          <a:p>
            <a:pPr>
              <a:defRPr sz="3600">
                <a:latin typeface="Calibri"/>
              </a:defRPr>
            </a:pPr>
            <a:r>
              <a:rPr dirty="0"/>
              <a:t>- Top-paying job titles include Data Analytics Lead and Principal Data Engineer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770314" y="1414924"/>
            <a:ext cx="7489429" cy="1444675"/>
          </a:xfrm>
        </p:spPr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rPr dirty="0"/>
              <a:t>Dashboard: Company Details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3"/>
          <a:srcRect l="11" r="11"/>
          <a:stretch>
            <a:fillRect/>
          </a:stretch>
        </p:blipFill>
        <p:spPr>
          <a:xfrm>
            <a:off x="15997325" y="304549"/>
            <a:ext cx="1371600" cy="1371900"/>
          </a:xfrm>
        </p:spPr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4"/>
              </a:rPr>
              <a:t>Photo: scope image</a:t>
            </a:r>
          </a:p>
          <a:p>
            <a:r>
              <a:rPr>
                <a:hlinkClick r:id="rId5"/>
              </a:rPr>
              <a:t>Photo by Michael Schiffer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- Experience Level: Executives and seniors earn the highest salaries.</a:t>
            </a:r>
          </a:p>
          <a:p>
            <a:pPr>
              <a:defRPr sz="3600">
                <a:latin typeface="Calibri"/>
              </a:defRPr>
            </a:pPr>
            <a:r>
              <a:t>- Job Type: Remote work offers competitive salaries compared to onsite.</a:t>
            </a:r>
          </a:p>
          <a:p>
            <a:pPr>
              <a:defRPr sz="3600">
                <a:latin typeface="Calibri"/>
              </a:defRPr>
            </a:pPr>
            <a:r>
              <a:t>- Company Size: Large companies offer better compensation packages.</a:t>
            </a:r>
          </a:p>
          <a:p>
            <a:pPr>
              <a:defRPr sz="3600">
                <a:latin typeface="Calibri"/>
              </a:defRPr>
            </a:pPr>
            <a:r>
              <a:t>- Yearly Trend: Salaries have increased over the year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rPr dirty="0"/>
              <a:t>Key Finding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7A57C6-0816-38F2-988F-3F904E7686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9765C36-1A82-5A62-D892-F61ED75C01A3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710134" y="1491018"/>
            <a:ext cx="16658791" cy="8376313"/>
          </a:xfr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D7C0237E-CC80-8749-7476-8A7A131B5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3830" y="402610"/>
            <a:ext cx="13968341" cy="981900"/>
          </a:xfrm>
        </p:spPr>
        <p:txBody>
          <a:bodyPr>
            <a:normAutofit/>
          </a:bodyPr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rPr lang="en-IN" dirty="0"/>
              <a:t>DASHBOARD: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95330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C45611-DEEC-3CAF-34D1-5E38F99F88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>
            <a:extLst>
              <a:ext uri="{FF2B5EF4-FFF2-40B4-BE49-F238E27FC236}">
                <a16:creationId xmlns:a16="http://schemas.microsoft.com/office/drawing/2014/main" id="{2EAE082C-2703-93C2-8983-DEC52DD26D62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>
          <a:xfrm>
            <a:off x="15335667" y="1001404"/>
            <a:ext cx="1824125" cy="1679331"/>
          </a:xfrm>
        </p:spPr>
      </p:pic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C8F8FF8-B294-188D-C9C3-506C65DC763C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>
            <a:fillRect/>
          </a:stretch>
        </p:blipFill>
        <p:spPr>
          <a:xfrm>
            <a:off x="723332" y="641001"/>
            <a:ext cx="16379591" cy="9212681"/>
          </a:xfrm>
        </p:spPr>
      </p:pic>
    </p:spTree>
    <p:extLst>
      <p:ext uri="{BB962C8B-B14F-4D97-AF65-F5344CB8AC3E}">
        <p14:creationId xmlns:p14="http://schemas.microsoft.com/office/powerpoint/2010/main" val="16894027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AAC22E74-803E-3373-7255-B5864D263646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>
            <a:fillRect/>
          </a:stretch>
        </p:blipFill>
        <p:spPr>
          <a:xfrm>
            <a:off x="919075" y="729471"/>
            <a:ext cx="16277104" cy="9301633"/>
          </a:xfrm>
          <a:solidFill>
            <a:srgbClr val="8500EA"/>
          </a:solidFill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5DEE6D-C0F7-99B0-DC15-CC3CD4D06C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>
            <a:extLst>
              <a:ext uri="{FF2B5EF4-FFF2-40B4-BE49-F238E27FC236}">
                <a16:creationId xmlns:a16="http://schemas.microsoft.com/office/drawing/2014/main" id="{2BF64829-4C2F-A75E-E584-F551A6777D24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DB676FF-2EA6-E41E-14CE-D80BEE2C6C32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>
            <a:fillRect/>
          </a:stretch>
        </p:blipFill>
        <p:spPr>
          <a:xfrm>
            <a:off x="750628" y="2471209"/>
            <a:ext cx="14002602" cy="4175251"/>
          </a:xfr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B156C63D-A1F7-6A36-F725-380BEB09E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1000" y="1028700"/>
            <a:ext cx="13968341" cy="981900"/>
          </a:xfrm>
        </p:spPr>
        <p:txBody>
          <a:bodyPr>
            <a:normAutofit/>
          </a:bodyPr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rPr lang="en-IN" dirty="0"/>
              <a:t>DAX QUERIES:</a:t>
            </a:r>
            <a:endParaRPr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341484-0B43-D08B-C10C-EB2EE08D318D}"/>
              </a:ext>
            </a:extLst>
          </p:cNvPr>
          <p:cNvSpPr txBox="1"/>
          <p:nvPr/>
        </p:nvSpPr>
        <p:spPr>
          <a:xfrm>
            <a:off x="1078174" y="7107069"/>
            <a:ext cx="1491700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000" dirty="0">
                <a:latin typeface="+mn-lt"/>
              </a:rPr>
              <a:t>NOTE: Company locations are changed US,HN,NZ,UK to United States, </a:t>
            </a:r>
            <a:r>
              <a:rPr lang="en-IN" sz="2000" dirty="0" err="1">
                <a:latin typeface="+mn-lt"/>
              </a:rPr>
              <a:t>Hangary</a:t>
            </a:r>
            <a:r>
              <a:rPr lang="en-IN" sz="2000" dirty="0">
                <a:latin typeface="+mn-lt"/>
              </a:rPr>
              <a:t>, </a:t>
            </a:r>
            <a:r>
              <a:rPr lang="en-IN" sz="2000" dirty="0" err="1">
                <a:latin typeface="+mn-lt"/>
              </a:rPr>
              <a:t>Newzeland</a:t>
            </a:r>
            <a:r>
              <a:rPr lang="en-IN" sz="2000" dirty="0">
                <a:latin typeface="+mn-lt"/>
              </a:rPr>
              <a:t>, </a:t>
            </a:r>
            <a:r>
              <a:rPr lang="en-IN" sz="2000" dirty="0" err="1">
                <a:latin typeface="+mn-lt"/>
              </a:rPr>
              <a:t>UnitedKindom</a:t>
            </a:r>
            <a:r>
              <a:rPr lang="en-IN" sz="2000" dirty="0">
                <a:latin typeface="+mn-lt"/>
              </a:rPr>
              <a:t>  by using AI</a:t>
            </a:r>
          </a:p>
        </p:txBody>
      </p:sp>
    </p:spTree>
    <p:extLst>
      <p:ext uri="{BB962C8B-B14F-4D97-AF65-F5344CB8AC3E}">
        <p14:creationId xmlns:p14="http://schemas.microsoft.com/office/powerpoint/2010/main" val="437299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93</TotalTime>
  <Words>296</Words>
  <Application>Microsoft Office PowerPoint</Application>
  <PresentationFormat>Custom</PresentationFormat>
  <Paragraphs>35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Calibri</vt:lpstr>
      <vt:lpstr>Roboto Light</vt:lpstr>
      <vt:lpstr>Raleway</vt:lpstr>
      <vt:lpstr>Arial</vt:lpstr>
      <vt:lpstr>Smart Slides v1</vt:lpstr>
      <vt:lpstr>think-cell Slide</vt:lpstr>
      <vt:lpstr>Power BI Project-1</vt:lpstr>
      <vt:lpstr>Project Overview</vt:lpstr>
      <vt:lpstr>Dashboard: Data Science Job Salaries</vt:lpstr>
      <vt:lpstr>Dashboard: Company Details</vt:lpstr>
      <vt:lpstr>Key Findings</vt:lpstr>
      <vt:lpstr>DASHBOARD:</vt:lpstr>
      <vt:lpstr>PowerPoint Presentation</vt:lpstr>
      <vt:lpstr>PowerPoint Presentation</vt:lpstr>
      <vt:lpstr>DAX QUERIES:</vt:lpstr>
      <vt:lpstr>Conclusion &amp; 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Anil Sagar</cp:lastModifiedBy>
  <cp:revision>66</cp:revision>
  <dcterms:modified xsi:type="dcterms:W3CDTF">2025-02-25T09:28:22Z</dcterms:modified>
</cp:coreProperties>
</file>